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45" r:id="rId2"/>
    <p:sldId id="446" r:id="rId3"/>
    <p:sldId id="435" r:id="rId4"/>
    <p:sldId id="438" r:id="rId5"/>
    <p:sldId id="442" r:id="rId6"/>
    <p:sldId id="439" r:id="rId7"/>
    <p:sldId id="443" r:id="rId8"/>
    <p:sldId id="444" r:id="rId9"/>
    <p:sldId id="440" r:id="rId10"/>
    <p:sldId id="445" r:id="rId11"/>
    <p:sldId id="433" r:id="rId12"/>
    <p:sldId id="434" r:id="rId13"/>
  </p:sldIdLst>
  <p:sldSz cx="12192000" cy="6858000"/>
  <p:notesSz cx="6858000" cy="9144000"/>
  <p:embeddedFontLst>
    <p:embeddedFont>
      <p:font typeface="Frutiger LT Com 45 Light" panose="020B0303030504090204" charset="0"/>
      <p:regular r:id="rId16"/>
      <p:bold r:id="rId17"/>
      <p:italic r:id="rId18"/>
      <p:boldItalic r:id="rId19"/>
    </p:embeddedFont>
    <p:embeddedFont>
      <p:font typeface="Frutiger LT Com 65 Bold" panose="020B0803030504020204" charset="0"/>
      <p:bold r:id="rId20"/>
    </p:embeddedFont>
    <p:embeddedFont>
      <p:font typeface="Frutiger LT Com 75 Black" panose="020B0A03040504030204" charset="0"/>
      <p:bold r:id="rId21"/>
    </p:embeddedFont>
  </p:embeddedFontLst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00779A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6008" autoAdjust="0"/>
  </p:normalViewPr>
  <p:slideViewPr>
    <p:cSldViewPr snapToGrid="0" showGuides="1">
      <p:cViewPr varScale="1">
        <p:scale>
          <a:sx n="106" d="100"/>
          <a:sy n="106" d="100"/>
        </p:scale>
        <p:origin x="61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8501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/23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/23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2073017-DDA3-40B1-B959-F4FB6A4AFA26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612DD1F-137A-4464-9EAC-BB9C0CE663F3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D65271-F4C6-48CF-AF5F-2037B0CD876F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0222"/>
          <a:stretch/>
        </p:blipFill>
        <p:spPr>
          <a:xfrm>
            <a:off x="0" y="0"/>
            <a:ext cx="12192000" cy="615696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4020A64-C0C9-478D-9112-3AF7A9C7B733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921AC-02AD-43CE-8223-29C354AFA9F0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B90B4-23A1-4D5C-AEA0-4F896DEE8659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3D9B4-34CC-4E21-9E4A-F393B50906FC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F9B2CC-25F6-4FAC-8864-016AA298134A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EE57FA5-9E55-4B97-9BC1-88EE745C6E8D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0525D-F95B-4ACC-B650-EB231C9416E4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576A1-7152-48DA-B11F-0CA42E8F88C3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4BCDEA-1572-4D1C-B8B3-1CB32F073304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6000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87E145-D96F-4C16-98B0-5C7CE18C7A39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77E153F-41A4-4D9F-9E2C-43776E00E2AA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541F53-829B-4497-96C5-4E44BC0C6C56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802DEE-4F74-426D-A4E8-87B69A103B05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beispiel –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12865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064328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E5806F9-6B91-4EEE-BC2C-4C702B2BEEDB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jektbeispiel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durch Klicken auf Symbol in Bildmitte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160147"/>
            <a:ext cx="5916612" cy="2727579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bg1"/>
                </a:solidFill>
                <a:latin typeface="+mn-lt"/>
              </a:defRPr>
            </a:lvl1pPr>
            <a:lvl2pPr marL="0" marR="0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Überschrift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24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86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75 Black" panose="020B0A0304050403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 Etwa 3 bis 5 Zeilen Fließtext erläutern das Bild. Dies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extbo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kann je nach Bedarf links oder rechts am Rand stehen.</a:t>
            </a:r>
          </a:p>
        </p:txBody>
      </p:sp>
    </p:spTree>
    <p:extLst>
      <p:ext uri="{BB962C8B-B14F-4D97-AF65-F5344CB8AC3E}">
        <p14:creationId xmlns:p14="http://schemas.microsoft.com/office/powerpoint/2010/main" val="2987668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764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 baseline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3848837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65000"/>
                    </a:schemeClr>
                  </a:outerShdw>
                </a:effectLst>
              </a:defRPr>
            </a:lvl1pPr>
          </a:lstStyle>
          <a:p>
            <a:r>
              <a:rPr lang="de-DE" dirty="0"/>
              <a:t>Bild kann bei Bedarf durch Klicken auf Symbol ausgetauscht werd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bg1"/>
                </a:solidFill>
                <a:effectLst>
                  <a:outerShdw blurRad="50800" dist="25400" dir="5400000" algn="ctr" rotWithShape="0">
                    <a:schemeClr val="bg1">
                      <a:lumMod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e-DE" dirty="0"/>
              <a:t>Beispielbild als Platzhalter - durch Klick auf Symbol gegen gewünschtes Bild austauschen!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75F282-9D1B-4645-B88C-04861B076577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OSB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840BE37-0688-453E-8621-EBEA1DAF6D6C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OSB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Intern</a:t>
            </a:r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osb_rgb">
            <a:extLst>
              <a:ext uri="{FF2B5EF4-FFF2-40B4-BE49-F238E27FC236}">
                <a16:creationId xmlns:a16="http://schemas.microsoft.com/office/drawing/2014/main" id="{7CAC2254-44F4-41CC-A5C7-44675CB65AD8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9226" y="6334126"/>
            <a:ext cx="1403999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81" r:id="rId27"/>
    <p:sldLayoutId id="2147483680" r:id="rId28"/>
    <p:sldLayoutId id="2147483675" r:id="rId29"/>
    <p:sldLayoutId id="2147483676" r:id="rId30"/>
    <p:sldLayoutId id="2147483677" r:id="rId31"/>
  </p:sldLayoutIdLst>
  <p:hf hdr="0" ft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736402"/>
            <a:ext cx="11712575" cy="2248473"/>
          </a:xfrm>
        </p:spPr>
        <p:txBody>
          <a:bodyPr/>
          <a:lstStyle/>
          <a:p>
            <a:r>
              <a:rPr lang="de-DE" dirty="0"/>
              <a:t>Fabian Heinlein</a:t>
            </a:r>
          </a:p>
          <a:p>
            <a:r>
              <a:rPr lang="de-DE" dirty="0"/>
              <a:t>22.01.2025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Bachelorarbeit: zweiter Anlauf</a:t>
            </a:r>
          </a:p>
        </p:txBody>
      </p:sp>
      <p:pic>
        <p:nvPicPr>
          <p:cNvPr id="5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6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8623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657488"/>
          </a:xfrm>
        </p:spPr>
        <p:txBody>
          <a:bodyPr/>
          <a:lstStyle/>
          <a:p>
            <a:r>
              <a:rPr lang="de-DE" sz="2000" dirty="0"/>
              <a:t>Neuer Aufbau</a:t>
            </a:r>
            <a:br>
              <a:rPr lang="de-DE" sz="2000" dirty="0"/>
            </a:br>
            <a:endParaRPr lang="de-DE" sz="200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700" noProof="0" smtClean="0"/>
              <a:t>23.01.2025</a:t>
            </a:fld>
            <a:endParaRPr lang="de-DE" sz="7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8543"/>
            <a:ext cx="720000" cy="107722"/>
          </a:xfrm>
        </p:spPr>
        <p:txBody>
          <a:bodyPr/>
          <a:lstStyle/>
          <a:p>
            <a:r>
              <a:rPr lang="de-DE" sz="700" noProof="0" dirty="0"/>
              <a:t>Seite</a:t>
            </a:r>
            <a:r>
              <a:rPr lang="en-US" sz="700" dirty="0"/>
              <a:t> </a:t>
            </a:r>
            <a:fld id="{401BA3E4-5E55-4F99-AF09-CC6D6B2539E2}" type="slidenum">
              <a:rPr lang="en-US" sz="700" smtClean="0"/>
              <a:pPr/>
              <a:t>10</a:t>
            </a:fld>
            <a:endParaRPr lang="en-US" sz="7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287386"/>
          </a:xfrm>
        </p:spPr>
        <p:txBody>
          <a:bodyPr/>
          <a:lstStyle/>
          <a:p>
            <a:r>
              <a:rPr lang="de-DE" sz="1800" dirty="0"/>
              <a:t>Theorietei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91B9FD-D86D-5C5F-481F-3B5AEDC2D9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384057"/>
            <a:ext cx="3838575" cy="2647950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21ED62BC-5684-B296-6FC9-525B647F9D52}"/>
              </a:ext>
            </a:extLst>
          </p:cNvPr>
          <p:cNvSpPr txBox="1"/>
          <p:nvPr/>
        </p:nvSpPr>
        <p:spPr>
          <a:xfrm>
            <a:off x="6163408" y="75628"/>
            <a:ext cx="5967046" cy="1692771"/>
          </a:xfrm>
          <a:prstGeom prst="rect">
            <a:avLst/>
          </a:prstGeom>
          <a:noFill/>
          <a:ln w="28575">
            <a:solidFill>
              <a:srgbClr val="179C7D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Grundlagen von Bilanzräumen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Herausarbeitung des Grundlagenwissens zum Themenkomplex: Bilanzräume und Bilanzierung im Energiemanagement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Befasst sich mit:</a:t>
            </a:r>
            <a:br>
              <a:rPr lang="de-DE" sz="1100" dirty="0"/>
            </a:br>
            <a:r>
              <a:rPr lang="de-DE" sz="1100" dirty="0">
                <a:sym typeface="Wingdings" panose="05000000000000000000" pitchFamily="2" charset="2"/>
              </a:rPr>
              <a:t> Zusammenhang Bilanzierung – Bilanzraum</a:t>
            </a:r>
            <a:br>
              <a:rPr lang="de-DE" sz="1100" dirty="0"/>
            </a:br>
            <a:r>
              <a:rPr lang="de-DE" sz="1100" dirty="0">
                <a:sym typeface="Wingdings" panose="05000000000000000000" pitchFamily="2" charset="2"/>
              </a:rPr>
              <a:t> Definition Bilanzraum (Bilanzraumgrenzen)</a:t>
            </a: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Ein- und Abfließende (Energie-)Ströme in Bilanzräume</a:t>
            </a: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Bilanzraumstrukturen aus mehreren Bilanzräumen (Baumartige Verschachtelung der Bilanzräume)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ym typeface="Wingdings" panose="05000000000000000000" pitchFamily="2" charset="2"/>
              </a:rPr>
              <a:t>Ziel ist es den </a:t>
            </a:r>
            <a:r>
              <a:rPr lang="de-DE" sz="1100" b="1" dirty="0">
                <a:sym typeface="Wingdings" panose="05000000000000000000" pitchFamily="2" charset="2"/>
              </a:rPr>
              <a:t>allgemeinen Problemraum</a:t>
            </a:r>
            <a:r>
              <a:rPr lang="de-DE" sz="1100" dirty="0">
                <a:sym typeface="Wingdings" panose="05000000000000000000" pitchFamily="2" charset="2"/>
              </a:rPr>
              <a:t> zu </a:t>
            </a:r>
            <a:r>
              <a:rPr lang="de-DE" sz="1100" b="1" dirty="0">
                <a:sym typeface="Wingdings" panose="05000000000000000000" pitchFamily="2" charset="2"/>
              </a:rPr>
              <a:t>erfassen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769EE97A-F91F-41D8-397B-687898F6B7F9}"/>
              </a:ext>
            </a:extLst>
          </p:cNvPr>
          <p:cNvSpPr txBox="1"/>
          <p:nvPr/>
        </p:nvSpPr>
        <p:spPr>
          <a:xfrm>
            <a:off x="6163408" y="1944999"/>
            <a:ext cx="5967046" cy="2708434"/>
          </a:xfrm>
          <a:prstGeom prst="rect">
            <a:avLst/>
          </a:prstGeom>
          <a:noFill/>
          <a:ln w="28575">
            <a:solidFill>
              <a:srgbClr val="005B7F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Bilanzräume im Energiemanagement nach ISO 50001</a:t>
            </a:r>
            <a:endParaRPr lang="de-DE" sz="1100" b="1" dirty="0">
              <a:sym typeface="Wingdings" panose="05000000000000000000" pitchFamily="2" charset="2"/>
            </a:endParaRP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ym typeface="Wingdings" panose="05000000000000000000" pitchFamily="2" charset="2"/>
              </a:rPr>
              <a:t>2 Teilaspekte für jedes Unterkapitel</a:t>
            </a:r>
            <a:br>
              <a:rPr lang="de-DE" sz="1100" dirty="0">
                <a:sym typeface="Wingdings" panose="05000000000000000000" pitchFamily="2" charset="2"/>
              </a:rPr>
            </a:b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Herausarbeiten von potentiellen Möglichkeiten eines Bilanzraummodells zur Unterstützung bei der Erfüllung von ISO 50001 Anforderungen (z.B. Bilanzräume als </a:t>
            </a:r>
            <a:r>
              <a:rPr lang="de-DE" sz="1100" dirty="0" err="1">
                <a:sym typeface="Wingdings" panose="05000000000000000000" pitchFamily="2" charset="2"/>
              </a:rPr>
              <a:t>EnPI</a:t>
            </a:r>
            <a:r>
              <a:rPr lang="de-DE" sz="1100" dirty="0">
                <a:sym typeface="Wingdings" panose="05000000000000000000" pitchFamily="2" charset="2"/>
              </a:rPr>
              <a:t>-Grenzen, Einsatz von Bilanzräumen zur digitalen Abbildung des Organisationskontexts, Bilanzräume zur Erstellung von Energieflussmodellen und zur Erkennung von wesentlichen Energieeinsätzen)</a:t>
            </a:r>
            <a:br>
              <a:rPr lang="de-DE" sz="1100" dirty="0">
                <a:sym typeface="Wingdings" panose="05000000000000000000" pitchFamily="2" charset="2"/>
              </a:rPr>
            </a:br>
            <a:br>
              <a:rPr lang="de-DE" sz="1100" dirty="0">
                <a:sym typeface="Wingdings" panose="05000000000000000000" pitchFamily="2" charset="2"/>
              </a:rPr>
            </a:br>
            <a:r>
              <a:rPr lang="de-DE" sz="1100" dirty="0">
                <a:sym typeface="Wingdings" panose="05000000000000000000" pitchFamily="2" charset="2"/>
              </a:rPr>
              <a:t> Dabei sollen praktische Herausforderungen zur Realisation der Bilanzräume identifiziert werden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ym typeface="Wingdings" panose="05000000000000000000" pitchFamily="2" charset="2"/>
              </a:rPr>
              <a:t>Ziel ist es aus dem potentiellen Nutzen zur Erfüllung der ISO 50001 Anforderungen, Qualitätskriterien für das Bilanzraummodell zu abstrahieren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Die praktischen Herausforderungen dienen als Grundlage zur Formulierung von Anforderungen an den Organisationskontext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Allgemein geht es hier darum den </a:t>
            </a:r>
            <a:r>
              <a:rPr lang="de-DE" sz="1100" b="1" dirty="0"/>
              <a:t>Anwendungsbereich</a:t>
            </a:r>
            <a:r>
              <a:rPr lang="de-DE" sz="1100" dirty="0"/>
              <a:t> und den </a:t>
            </a:r>
            <a:r>
              <a:rPr lang="de-DE" sz="1100" b="1" dirty="0"/>
              <a:t>angewandten Problemraum (ISO 50001) </a:t>
            </a:r>
            <a:r>
              <a:rPr lang="de-DE" sz="1100" dirty="0"/>
              <a:t>zu </a:t>
            </a:r>
            <a:r>
              <a:rPr lang="de-DE" sz="1100" b="1" dirty="0"/>
              <a:t>erfassen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0C922BA-11ED-52C9-7DAC-0C551ED5D43B}"/>
              </a:ext>
            </a:extLst>
          </p:cNvPr>
          <p:cNvSpPr/>
          <p:nvPr/>
        </p:nvSpPr>
        <p:spPr>
          <a:xfrm>
            <a:off x="714375" y="1573823"/>
            <a:ext cx="2028825" cy="921081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3472DB52-2871-722E-47AE-DB1783C339CB}"/>
              </a:ext>
            </a:extLst>
          </p:cNvPr>
          <p:cNvSpPr/>
          <p:nvPr/>
        </p:nvSpPr>
        <p:spPr>
          <a:xfrm>
            <a:off x="714375" y="2517775"/>
            <a:ext cx="2899263" cy="956470"/>
          </a:xfrm>
          <a:prstGeom prst="rect">
            <a:avLst/>
          </a:prstGeom>
          <a:noFill/>
          <a:ln w="19050">
            <a:solidFill>
              <a:srgbClr val="005B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D93AFE1D-449D-A13D-6EEF-B4F39C16450D}"/>
              </a:ext>
            </a:extLst>
          </p:cNvPr>
          <p:cNvSpPr/>
          <p:nvPr/>
        </p:nvSpPr>
        <p:spPr>
          <a:xfrm>
            <a:off x="714374" y="3499612"/>
            <a:ext cx="3603626" cy="532395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E4786DE1-7187-DAF0-638C-A812568526EE}"/>
              </a:ext>
            </a:extLst>
          </p:cNvPr>
          <p:cNvSpPr txBox="1"/>
          <p:nvPr/>
        </p:nvSpPr>
        <p:spPr>
          <a:xfrm>
            <a:off x="714374" y="4187959"/>
            <a:ext cx="5259706" cy="1523494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Ansätze zur Datenbankseitigen Modellierung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In diesem Abschnitt sollen bewährte Datenstrukturen in relationalen Datenbanken (Oracle) herausgearbeitet werden, welche zur Erfüllung der in den vorherigen Kapiteln ausgearbeiteten allgemeinen und auf die ISO 50001 angewandten Anforderungen beitragen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Hier geht es darum eine Übersicht über den aktuellen Stand der Forschung zu gewinnen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/>
              <a:t>Das Ziel ist es bewährte Datenstrukturen zu sammeln, um diese in der Konzipierung und Implementierung zu verwenden</a:t>
            </a:r>
          </a:p>
        </p:txBody>
      </p:sp>
    </p:spTree>
    <p:extLst>
      <p:ext uri="{BB962C8B-B14F-4D97-AF65-F5344CB8AC3E}">
        <p14:creationId xmlns:p14="http://schemas.microsoft.com/office/powerpoint/2010/main" val="13610992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-1" y="2357312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Zeitplanung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22.01.2025</a:t>
            </a:r>
            <a:br>
              <a:rPr lang="de-DE" sz="2200" dirty="0"/>
            </a:b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42507179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itplan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73748" y="6457796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5656" y="6470849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ilensteinplan</a:t>
            </a:r>
          </a:p>
        </p:txBody>
      </p:sp>
      <p:pic>
        <p:nvPicPr>
          <p:cNvPr id="4" name="Grafik 3" descr="Ein Bild, das Text, Screenshot, Schrift, Design enthält.&#10;&#10;Automatisch generierte Beschreibung">
            <a:extLst>
              <a:ext uri="{FF2B5EF4-FFF2-40B4-BE49-F238E27FC236}">
                <a16:creationId xmlns:a16="http://schemas.microsoft.com/office/drawing/2014/main" id="{089350EC-480D-66B7-86A6-E9AFEFFA07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2675" y="0"/>
            <a:ext cx="8161752" cy="6858000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BE9935C-2896-C894-5F44-8DFEC3E44C5F}"/>
              </a:ext>
            </a:extLst>
          </p:cNvPr>
          <p:cNvCxnSpPr>
            <a:cxnSpLocks/>
          </p:cNvCxnSpPr>
          <p:nvPr/>
        </p:nvCxnSpPr>
        <p:spPr>
          <a:xfrm flipV="1">
            <a:off x="6219825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4533ABC-0DD4-3D57-C042-11A093EF3CA6}"/>
              </a:ext>
            </a:extLst>
          </p:cNvPr>
          <p:cNvCxnSpPr>
            <a:cxnSpLocks/>
          </p:cNvCxnSpPr>
          <p:nvPr/>
        </p:nvCxnSpPr>
        <p:spPr>
          <a:xfrm>
            <a:off x="6219825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8D3D051C-481D-B36D-5A7A-EF9CF387A557}"/>
              </a:ext>
            </a:extLst>
          </p:cNvPr>
          <p:cNvCxnSpPr>
            <a:cxnSpLocks/>
          </p:cNvCxnSpPr>
          <p:nvPr/>
        </p:nvCxnSpPr>
        <p:spPr>
          <a:xfrm flipV="1">
            <a:off x="7654925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143BD8A7-7701-5F61-C080-283CB1D38243}"/>
              </a:ext>
            </a:extLst>
          </p:cNvPr>
          <p:cNvCxnSpPr>
            <a:cxnSpLocks/>
          </p:cNvCxnSpPr>
          <p:nvPr/>
        </p:nvCxnSpPr>
        <p:spPr>
          <a:xfrm>
            <a:off x="7654925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954E053-5CC4-FFF2-4C9C-CA8E93B371E2}"/>
              </a:ext>
            </a:extLst>
          </p:cNvPr>
          <p:cNvCxnSpPr>
            <a:cxnSpLocks/>
          </p:cNvCxnSpPr>
          <p:nvPr/>
        </p:nvCxnSpPr>
        <p:spPr>
          <a:xfrm flipV="1">
            <a:off x="8992200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00B14D7-16F8-BBF4-975A-17E4B38C0E97}"/>
              </a:ext>
            </a:extLst>
          </p:cNvPr>
          <p:cNvCxnSpPr>
            <a:cxnSpLocks/>
          </p:cNvCxnSpPr>
          <p:nvPr/>
        </p:nvCxnSpPr>
        <p:spPr>
          <a:xfrm>
            <a:off x="8992200" y="1257300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D7B18853-49C2-401C-88FA-DC9C7D221498}"/>
              </a:ext>
            </a:extLst>
          </p:cNvPr>
          <p:cNvCxnSpPr>
            <a:cxnSpLocks/>
          </p:cNvCxnSpPr>
          <p:nvPr/>
        </p:nvCxnSpPr>
        <p:spPr>
          <a:xfrm flipV="1">
            <a:off x="9979994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C5234070-7834-6163-3266-7146A2C07E49}"/>
              </a:ext>
            </a:extLst>
          </p:cNvPr>
          <p:cNvCxnSpPr>
            <a:cxnSpLocks/>
          </p:cNvCxnSpPr>
          <p:nvPr/>
        </p:nvCxnSpPr>
        <p:spPr>
          <a:xfrm>
            <a:off x="9979994" y="1249362"/>
            <a:ext cx="638175" cy="352425"/>
          </a:xfrm>
          <a:prstGeom prst="line">
            <a:avLst/>
          </a:prstGeom>
          <a:ln w="127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06B5F5CA-5A80-5873-40E6-62A0C4B4ECDD}"/>
              </a:ext>
            </a:extLst>
          </p:cNvPr>
          <p:cNvSpPr txBox="1"/>
          <p:nvPr/>
        </p:nvSpPr>
        <p:spPr>
          <a:xfrm>
            <a:off x="6207598" y="1044547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14.02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D03808B-1417-0329-8B60-D31ECC990DAF}"/>
              </a:ext>
            </a:extLst>
          </p:cNvPr>
          <p:cNvSpPr txBox="1"/>
          <p:nvPr/>
        </p:nvSpPr>
        <p:spPr>
          <a:xfrm>
            <a:off x="7614409" y="1044547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28.02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96287490-E135-3FAF-6A85-1B7E2FE94E4F}"/>
              </a:ext>
            </a:extLst>
          </p:cNvPr>
          <p:cNvSpPr txBox="1"/>
          <p:nvPr/>
        </p:nvSpPr>
        <p:spPr>
          <a:xfrm>
            <a:off x="8973538" y="1002808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19.03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3AEA608-E355-ACCF-4371-14C7899CC0CC}"/>
              </a:ext>
            </a:extLst>
          </p:cNvPr>
          <p:cNvSpPr txBox="1"/>
          <p:nvPr/>
        </p:nvSpPr>
        <p:spPr>
          <a:xfrm>
            <a:off x="9909699" y="1031006"/>
            <a:ext cx="719206" cy="2330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24.04.2025</a:t>
            </a:r>
            <a:endParaRPr lang="de-DE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235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BA30B8-2BB9-57FE-F3E4-528B1466F7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69391D7-69D7-D58C-6BB7-06616D576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EE1B6B3-F39F-578B-FA9F-1D72C61CEB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3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928F6A4-370A-F75A-5410-3ED6C37FE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2</a:t>
            </a:fld>
            <a:endParaRPr lang="en-US" sz="9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D9FC6FE-766A-6696-B3B0-9DC84D4A3204}"/>
              </a:ext>
            </a:extLst>
          </p:cNvPr>
          <p:cNvSpPr txBox="1"/>
          <p:nvPr/>
        </p:nvSpPr>
        <p:spPr>
          <a:xfrm>
            <a:off x="3915567" y="1894172"/>
            <a:ext cx="3763107" cy="2085636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Forschungsthema:</a:t>
            </a:r>
            <a:br>
              <a:rPr lang="de-DE" sz="1600" b="1" dirty="0"/>
            </a:br>
            <a:r>
              <a:rPr lang="de-DE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onzeption und Entwicklung einer datenbankseitigen Abbildung von frei definierbaren Bilanzräumen im Zusammenhang mit dem Energiemanagementsystems EMS-EDM PROPHET® nach ISO 50001.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4934035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BC65D2-E7A3-AB7C-95D8-E0F0B0AE8C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953DA13A-9BCE-6D22-D6AE-506FB5C801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9FC15C-4A1E-413C-455F-FA9963D629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366104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Problem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22.01.2025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37844606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3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4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1: Themenkomplex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69EA28D-035D-545E-2716-0E9DCC12DA8A}"/>
              </a:ext>
            </a:extLst>
          </p:cNvPr>
          <p:cNvSpPr txBox="1"/>
          <p:nvPr/>
        </p:nvSpPr>
        <p:spPr>
          <a:xfrm>
            <a:off x="4341080" y="472778"/>
            <a:ext cx="3763107" cy="24222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:</a:t>
            </a:r>
            <a:br>
              <a:rPr lang="de-DE" sz="1600" dirty="0"/>
            </a:br>
            <a:r>
              <a:rPr lang="de-DE" sz="1600" dirty="0"/>
              <a:t>Wie lässt sich ein datenbankbasiertes System zur </a:t>
            </a:r>
            <a:r>
              <a:rPr lang="de-DE" sz="1600" b="1" dirty="0"/>
              <a:t>Abbildung</a:t>
            </a:r>
            <a:r>
              <a:rPr lang="de-DE" sz="1600" dirty="0"/>
              <a:t> und </a:t>
            </a:r>
            <a:r>
              <a:rPr lang="de-DE" sz="1600" b="1" dirty="0"/>
              <a:t>Bewertung</a:t>
            </a:r>
            <a:r>
              <a:rPr lang="de-DE" sz="1600" dirty="0"/>
              <a:t> von frei definierbaren Bilanzräumen im Rahmen des Energiemanagementsystems EMS-EDM Prophet® konzipieren und implementieren, um Organisationen bei der Erfüllung der ISO 50001-Anforderungen zu unterstützen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436C12D-D471-1F57-79FE-E3399C128CE0}"/>
              </a:ext>
            </a:extLst>
          </p:cNvPr>
          <p:cNvSpPr txBox="1"/>
          <p:nvPr/>
        </p:nvSpPr>
        <p:spPr>
          <a:xfrm>
            <a:off x="452265" y="3063220"/>
            <a:ext cx="3763107" cy="215129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Subforschungsfrage 1:</a:t>
            </a:r>
            <a:br>
              <a:rPr lang="de-DE" sz="1600" dirty="0"/>
            </a:br>
            <a:r>
              <a:rPr lang="de-DE" sz="1600" dirty="0"/>
              <a:t>Welche strukturellen Erweiterungen und Anpassungen müssen in EMS-EDM Prophet® auf Datenbankebene implementiert werden, um </a:t>
            </a:r>
            <a:r>
              <a:rPr lang="de-DE" sz="1600" b="1" dirty="0"/>
              <a:t>frei definierbare Bilanzräume</a:t>
            </a:r>
            <a:r>
              <a:rPr lang="de-DE" sz="1600" dirty="0"/>
              <a:t> unter Berücksichtigung der in der </a:t>
            </a:r>
            <a:r>
              <a:rPr lang="de-DE" sz="1600" b="1" dirty="0"/>
              <a:t>ISO 50001</a:t>
            </a:r>
            <a:r>
              <a:rPr lang="de-DE" sz="1600" dirty="0"/>
              <a:t> festgelegten Anforderungen </a:t>
            </a:r>
            <a:r>
              <a:rPr lang="de-DE" sz="1600" b="1" dirty="0"/>
              <a:t>abzubilden</a:t>
            </a:r>
            <a:r>
              <a:rPr lang="de-DE" sz="1600" dirty="0"/>
              <a:t>?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1113181-053E-14B8-08C7-C2E241DEAB39}"/>
              </a:ext>
            </a:extLst>
          </p:cNvPr>
          <p:cNvSpPr txBox="1"/>
          <p:nvPr/>
        </p:nvSpPr>
        <p:spPr>
          <a:xfrm>
            <a:off x="8229895" y="3063220"/>
            <a:ext cx="3763107" cy="215135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Subforschungsfrage 3:</a:t>
            </a:r>
            <a:br>
              <a:rPr lang="de-DE" sz="1600" dirty="0"/>
            </a:br>
            <a:r>
              <a:rPr lang="de-DE" sz="1600" dirty="0"/>
              <a:t>Welche Anforderungen an die </a:t>
            </a:r>
            <a:r>
              <a:rPr lang="de-DE" sz="1600" b="1" dirty="0"/>
              <a:t>Messinfrastruktur und Stammdaten </a:t>
            </a:r>
            <a:r>
              <a:rPr lang="de-DE" sz="1600" dirty="0"/>
              <a:t>innerhalb einer Organisation müssen erfüllt werden, um frei definierbare </a:t>
            </a:r>
            <a:r>
              <a:rPr lang="de-DE" sz="1600" b="1" dirty="0"/>
              <a:t>Bilanzräume</a:t>
            </a:r>
            <a:r>
              <a:rPr lang="de-DE" sz="1600" dirty="0"/>
              <a:t> im EMS-EDM Prophet® nach Vorgaben der ISO 50001 </a:t>
            </a:r>
            <a:r>
              <a:rPr lang="de-DE" sz="1600" b="1" dirty="0"/>
              <a:t>im Organisationskontext abzubilden</a:t>
            </a:r>
            <a:r>
              <a:rPr lang="de-DE" sz="1600" dirty="0"/>
              <a:t> und zu bewerten?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8DDF128-D8B6-C64F-E46C-A8A4D7AACD58}"/>
              </a:ext>
            </a:extLst>
          </p:cNvPr>
          <p:cNvSpPr txBox="1"/>
          <p:nvPr/>
        </p:nvSpPr>
        <p:spPr>
          <a:xfrm>
            <a:off x="4341080" y="3063220"/>
            <a:ext cx="3763107" cy="269304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Subforschungsfrage 2:</a:t>
            </a:r>
            <a:br>
              <a:rPr lang="de-DE" sz="1600" dirty="0"/>
            </a:br>
            <a:r>
              <a:rPr lang="de-DE" sz="1600" dirty="0"/>
              <a:t>Wie können die in der </a:t>
            </a:r>
            <a:r>
              <a:rPr lang="de-DE" sz="1600" b="1" dirty="0"/>
              <a:t>ISO 50001/ISO 50006</a:t>
            </a:r>
            <a:r>
              <a:rPr lang="de-DE" sz="1600" dirty="0"/>
              <a:t> vorgegebenen Metriken zur </a:t>
            </a:r>
            <a:r>
              <a:rPr lang="de-DE" sz="1600" b="1" dirty="0"/>
              <a:t>Messung und Überwachung der energiebezogenen Leistung </a:t>
            </a:r>
            <a:r>
              <a:rPr lang="de-DE" sz="1600" dirty="0"/>
              <a:t>mit ihrer Definition, den Berechnungsmethoden sowie den Anforderungen an die Eingangsdaten </a:t>
            </a:r>
            <a:r>
              <a:rPr lang="de-DE" sz="1600" b="1" dirty="0"/>
              <a:t>in das Bilanzraumdatenmodell integriert</a:t>
            </a:r>
            <a:r>
              <a:rPr lang="de-DE" sz="1600" dirty="0"/>
              <a:t> werden?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042961C-215F-6437-B789-71DB01FE2254}"/>
              </a:ext>
            </a:extLst>
          </p:cNvPr>
          <p:cNvSpPr txBox="1"/>
          <p:nvPr/>
        </p:nvSpPr>
        <p:spPr>
          <a:xfrm>
            <a:off x="479425" y="5412584"/>
            <a:ext cx="2879411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ym typeface="Wingdings" panose="05000000000000000000" pitchFamily="2" charset="2"/>
              </a:rPr>
              <a:t> Abbildung von Bilanzräumen</a:t>
            </a:r>
            <a:endParaRPr lang="de-DE" sz="1400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21D98DB-BBC9-3199-970C-8A498FA5D1A3}"/>
              </a:ext>
            </a:extLst>
          </p:cNvPr>
          <p:cNvSpPr txBox="1"/>
          <p:nvPr/>
        </p:nvSpPr>
        <p:spPr>
          <a:xfrm>
            <a:off x="4656294" y="5841537"/>
            <a:ext cx="2879411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ym typeface="Wingdings" panose="05000000000000000000" pitchFamily="2" charset="2"/>
              </a:rPr>
              <a:t> Abbildung von Bilanzräumen</a:t>
            </a:r>
            <a:endParaRPr lang="de-DE" sz="1400" b="1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7BEA80C-A4B0-BBCD-BFF9-FECEED1DF15E}"/>
              </a:ext>
            </a:extLst>
          </p:cNvPr>
          <p:cNvSpPr txBox="1"/>
          <p:nvPr/>
        </p:nvSpPr>
        <p:spPr>
          <a:xfrm>
            <a:off x="8900861" y="5284472"/>
            <a:ext cx="2879411" cy="4943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>
                <a:sym typeface="Wingdings" panose="05000000000000000000" pitchFamily="2" charset="2"/>
              </a:rPr>
              <a:t> Technische Umsetzung von Bilanzräumen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7919475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1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14A73C2-AA1E-2DF5-C1B4-33E9B8757A4C}"/>
              </a:ext>
            </a:extLst>
          </p:cNvPr>
          <p:cNvSpPr txBox="1"/>
          <p:nvPr/>
        </p:nvSpPr>
        <p:spPr>
          <a:xfrm>
            <a:off x="479424" y="1325386"/>
            <a:ext cx="3509840" cy="141032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200" b="1" dirty="0"/>
              <a:t>Subforschungsfrage 1 (alt):</a:t>
            </a:r>
            <a:br>
              <a:rPr lang="de-DE" sz="1200" dirty="0"/>
            </a:br>
            <a:r>
              <a:rPr lang="de-DE" sz="1200" dirty="0"/>
              <a:t>Welche strukturellen Erweiterungen und Anpassungen müssen in EMS-EDM Prophet® auf Datenbankebene implementiert werden, um </a:t>
            </a:r>
            <a:r>
              <a:rPr lang="de-DE" sz="1200" b="1" dirty="0"/>
              <a:t>frei definierbare Bilanzräume</a:t>
            </a:r>
            <a:r>
              <a:rPr lang="de-DE" sz="1200" dirty="0"/>
              <a:t> unter Berücksichtigung der in der </a:t>
            </a:r>
            <a:r>
              <a:rPr lang="de-DE" sz="1200" b="1" dirty="0"/>
              <a:t>ISO 50001</a:t>
            </a:r>
            <a:r>
              <a:rPr lang="de-DE" sz="1200" dirty="0"/>
              <a:t> festgelegten Anforderungen </a:t>
            </a:r>
            <a:r>
              <a:rPr lang="de-DE" sz="1200" b="1" dirty="0"/>
              <a:t>abzubilden</a:t>
            </a:r>
            <a:r>
              <a:rPr lang="de-DE" sz="1200" dirty="0"/>
              <a:t>?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6BB923D-59DD-B428-1453-19C25E26BDE0}"/>
              </a:ext>
            </a:extLst>
          </p:cNvPr>
          <p:cNvSpPr txBox="1"/>
          <p:nvPr/>
        </p:nvSpPr>
        <p:spPr>
          <a:xfrm>
            <a:off x="8202736" y="1317142"/>
            <a:ext cx="3509840" cy="1410322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200" b="1" dirty="0"/>
              <a:t>Subforschungsfrage 3 (alt):</a:t>
            </a:r>
            <a:br>
              <a:rPr lang="de-DE" sz="1200" dirty="0"/>
            </a:br>
            <a:r>
              <a:rPr lang="de-DE" sz="1200" dirty="0"/>
              <a:t>Welche Anforderungen an die </a:t>
            </a:r>
            <a:r>
              <a:rPr lang="de-DE" sz="1200" b="1" dirty="0"/>
              <a:t>Messinfrastruktur und Stammdaten </a:t>
            </a:r>
            <a:r>
              <a:rPr lang="de-DE" sz="1200" dirty="0"/>
              <a:t>innerhalb einer Organisation müssen erfüllt werden, um frei definierbare </a:t>
            </a:r>
            <a:r>
              <a:rPr lang="de-DE" sz="1200" b="1" dirty="0"/>
              <a:t>Bilanzräume</a:t>
            </a:r>
            <a:r>
              <a:rPr lang="de-DE" sz="1200" dirty="0"/>
              <a:t> im EMS-EDM Prophet® nach Vorgaben der ISO 50001 </a:t>
            </a:r>
            <a:r>
              <a:rPr lang="de-DE" sz="1200" b="1" dirty="0"/>
              <a:t>im Organisationskontext abzubilden</a:t>
            </a:r>
            <a:r>
              <a:rPr lang="de-DE" sz="1200" dirty="0"/>
              <a:t> und zu bewerten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D0F83FC-D901-32B5-55F1-6956E433F588}"/>
              </a:ext>
            </a:extLst>
          </p:cNvPr>
          <p:cNvSpPr txBox="1"/>
          <p:nvPr/>
        </p:nvSpPr>
        <p:spPr>
          <a:xfrm>
            <a:off x="4370372" y="1304059"/>
            <a:ext cx="3509840" cy="141032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200" b="1" dirty="0"/>
              <a:t>Subforschungsfrage 2 (alt):</a:t>
            </a:r>
            <a:br>
              <a:rPr lang="de-DE" sz="1200" dirty="0"/>
            </a:br>
            <a:r>
              <a:rPr lang="de-DE" sz="1200" dirty="0"/>
              <a:t>Wie können die in der </a:t>
            </a:r>
            <a:r>
              <a:rPr lang="de-DE" sz="1200" b="1" dirty="0"/>
              <a:t>ISO 50001/ISO 50006</a:t>
            </a:r>
            <a:r>
              <a:rPr lang="de-DE" sz="1200" dirty="0"/>
              <a:t> vorgegebenen Metriken zur </a:t>
            </a:r>
            <a:r>
              <a:rPr lang="de-DE" sz="1200" b="1" dirty="0"/>
              <a:t>Messung und Überwachung der energiebezogenen Leistung </a:t>
            </a:r>
            <a:r>
              <a:rPr lang="de-DE" sz="1200" dirty="0"/>
              <a:t>mit ihrer Definition, den Berechnungsmethoden sowie den Anforderungen an die Eingangsdaten </a:t>
            </a:r>
            <a:r>
              <a:rPr lang="de-DE" sz="1200" b="1" dirty="0"/>
              <a:t>in das Bilanzraumdatenmodell integriert</a:t>
            </a:r>
            <a:r>
              <a:rPr lang="de-DE" sz="1200" dirty="0"/>
              <a:t> werden?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056252F-8B6A-A6E0-C668-466C50C155FA}"/>
              </a:ext>
            </a:extLst>
          </p:cNvPr>
          <p:cNvSpPr txBox="1"/>
          <p:nvPr/>
        </p:nvSpPr>
        <p:spPr>
          <a:xfrm>
            <a:off x="4243738" y="3079947"/>
            <a:ext cx="3763107" cy="29997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 (neu):</a:t>
            </a:r>
            <a:br>
              <a:rPr lang="de-DE" sz="1600" dirty="0"/>
            </a:br>
            <a:r>
              <a:rPr lang="de-DE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elche strukturellen Erweiterungen und Anpassungen müssen auf Datenbankebene in EMS-EDM PROPHET® konzipiert und implementiert werden, um eine frei definierbare Abbildung von Bilanzräumen zu ermöglichen, die Organisationen bei der Erfüllung der ISO 50001 unterstützt?</a:t>
            </a:r>
            <a:endParaRPr lang="de-DE" sz="1600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C5CD475-087B-4BDF-194F-441144D0E55B}"/>
              </a:ext>
            </a:extLst>
          </p:cNvPr>
          <p:cNvCxnSpPr>
            <a:cxnSpLocks/>
          </p:cNvCxnSpPr>
          <p:nvPr/>
        </p:nvCxnSpPr>
        <p:spPr>
          <a:xfrm flipV="1">
            <a:off x="4205404" y="1228397"/>
            <a:ext cx="3704522" cy="1507311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2CA9C3B-229E-424E-0304-D17655B2DBB0}"/>
              </a:ext>
            </a:extLst>
          </p:cNvPr>
          <p:cNvCxnSpPr>
            <a:cxnSpLocks/>
          </p:cNvCxnSpPr>
          <p:nvPr/>
        </p:nvCxnSpPr>
        <p:spPr>
          <a:xfrm flipH="1" flipV="1">
            <a:off x="4334928" y="1278812"/>
            <a:ext cx="3641206" cy="1482202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EDF508BA-BDC3-B939-9BC7-BC8D85418E69}"/>
              </a:ext>
            </a:extLst>
          </p:cNvPr>
          <p:cNvCxnSpPr>
            <a:cxnSpLocks/>
          </p:cNvCxnSpPr>
          <p:nvPr/>
        </p:nvCxnSpPr>
        <p:spPr>
          <a:xfrm flipH="1" flipV="1">
            <a:off x="8137053" y="1257694"/>
            <a:ext cx="3641206" cy="1482202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0363A9C-81FB-0128-E70B-7AEB75F0B166}"/>
              </a:ext>
            </a:extLst>
          </p:cNvPr>
          <p:cNvCxnSpPr>
            <a:cxnSpLocks/>
          </p:cNvCxnSpPr>
          <p:nvPr/>
        </p:nvCxnSpPr>
        <p:spPr>
          <a:xfrm flipV="1">
            <a:off x="8073737" y="1257694"/>
            <a:ext cx="3704522" cy="1507311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0E9D51C1-E0C0-6A67-641B-6C7A6A1B0837}"/>
              </a:ext>
            </a:extLst>
          </p:cNvPr>
          <p:cNvCxnSpPr>
            <a:cxnSpLocks/>
            <a:stCxn id="2" idx="2"/>
            <a:endCxn id="8" idx="0"/>
          </p:cNvCxnSpPr>
          <p:nvPr/>
        </p:nvCxnSpPr>
        <p:spPr>
          <a:xfrm>
            <a:off x="2234344" y="2735708"/>
            <a:ext cx="3890948" cy="344239"/>
          </a:xfrm>
          <a:prstGeom prst="straightConnector1">
            <a:avLst/>
          </a:prstGeom>
          <a:ln w="38100">
            <a:solidFill>
              <a:srgbClr val="179C7D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0D8095E5-99EC-D349-7B49-7EFDA9AF3DD8}"/>
              </a:ext>
            </a:extLst>
          </p:cNvPr>
          <p:cNvSpPr txBox="1"/>
          <p:nvPr/>
        </p:nvSpPr>
        <p:spPr>
          <a:xfrm>
            <a:off x="353128" y="3493001"/>
            <a:ext cx="3509839" cy="2289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Änderungen: (1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Thema Bewertung und technische Realisation keine zentralen Themen mehr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Behandlung nur noch als Teilthem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(z.B. Nutzen von Bilanzräumen als </a:t>
            </a:r>
            <a:r>
              <a:rPr lang="de-DE" sz="1400" dirty="0" err="1">
                <a:sym typeface="Wingdings" panose="05000000000000000000" pitchFamily="2" charset="2"/>
              </a:rPr>
              <a:t>EnPI</a:t>
            </a:r>
            <a:r>
              <a:rPr lang="de-DE" sz="1400" dirty="0">
                <a:sym typeface="Wingdings" panose="05000000000000000000" pitchFamily="2" charset="2"/>
              </a:rPr>
              <a:t>-Grenzen, wie können Bilanzräume zur Erfüllung der ISO 50001 genutzt werden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ym typeface="Wingdings" panose="05000000000000000000" pitchFamily="2" charset="2"/>
              </a:rPr>
              <a:t>Fokus liegt jetzt klar auf </a:t>
            </a:r>
            <a:r>
              <a:rPr lang="de-DE" sz="1400" b="1" dirty="0">
                <a:sym typeface="Wingdings" panose="05000000000000000000" pitchFamily="2" charset="2"/>
              </a:rPr>
              <a:t>Abbildung </a:t>
            </a:r>
            <a:r>
              <a:rPr lang="de-DE" sz="1400" dirty="0">
                <a:sym typeface="Wingdings" panose="05000000000000000000" pitchFamily="2" charset="2"/>
              </a:rPr>
              <a:t>der Bilanzräum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8741EC2-7CD1-FE84-2FD4-CF5422D538EE}"/>
              </a:ext>
            </a:extLst>
          </p:cNvPr>
          <p:cNvSpPr txBox="1"/>
          <p:nvPr/>
        </p:nvSpPr>
        <p:spPr>
          <a:xfrm>
            <a:off x="8387616" y="3429000"/>
            <a:ext cx="3509839" cy="1264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Änderungen (2)</a:t>
            </a:r>
          </a:p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… unter Berücksichtigung der in der ISO 50001 festgelegten Anforderungen 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</a:t>
            </a:r>
            <a:r>
              <a:rPr lang="de-DE" sz="14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die Organisationen bei der Erfüllung der ISO 50001 unterstützt</a:t>
            </a:r>
          </a:p>
        </p:txBody>
      </p:sp>
    </p:spTree>
    <p:extLst>
      <p:ext uri="{BB962C8B-B14F-4D97-AF65-F5344CB8AC3E}">
        <p14:creationId xmlns:p14="http://schemas.microsoft.com/office/powerpoint/2010/main" val="39381634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3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6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2: Anwendungsbereich (1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12259"/>
            <a:ext cx="5437188" cy="1853328"/>
          </a:xfrm>
        </p:spPr>
        <p:txBody>
          <a:bodyPr/>
          <a:lstStyle/>
          <a:p>
            <a:r>
              <a:rPr lang="de-DE" dirty="0">
                <a:latin typeface="+mn-lt"/>
              </a:rPr>
              <a:t>Der Anwendungsbereich des zu entwerfenden Prototyps wurde nicht definiert. Deshalb müssen, um den Anspruch der Vollständigkeit gerecht zu werden alle Organisationen abgedeckt sein.</a:t>
            </a:r>
          </a:p>
          <a:p>
            <a:r>
              <a:rPr lang="de-DE" dirty="0">
                <a:latin typeface="+mn-lt"/>
              </a:rPr>
              <a:t>Außerdem kann der Prototyp nur am Fallbeispiel Fraunhofer IOSB-AST (tertiärer Wirtschaftssektor) evaluiert werden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69EA28D-035D-545E-2716-0E9DCC12DA8A}"/>
              </a:ext>
            </a:extLst>
          </p:cNvPr>
          <p:cNvSpPr txBox="1"/>
          <p:nvPr/>
        </p:nvSpPr>
        <p:spPr>
          <a:xfrm>
            <a:off x="8291197" y="106789"/>
            <a:ext cx="3763107" cy="24222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:</a:t>
            </a:r>
            <a:br>
              <a:rPr lang="de-DE" sz="1600" dirty="0"/>
            </a:br>
            <a:r>
              <a:rPr lang="de-DE" sz="1600" dirty="0"/>
              <a:t>Wie lässt sich ein datenbankbasiertes System zur Abbildung und Bewertung von frei definierbaren Bilanzräumen im Rahmen des Energiemanagementsystems EMS-EDM Prophet® konzipieren und implementieren, um </a:t>
            </a:r>
            <a:r>
              <a:rPr lang="de-DE" sz="1600" b="1" dirty="0"/>
              <a:t>Organisationen</a:t>
            </a:r>
            <a:r>
              <a:rPr lang="de-DE" sz="1600" dirty="0"/>
              <a:t> bei der Erfüllung der ISO 50001-Anforderungen zu unterstützen?</a:t>
            </a:r>
          </a:p>
        </p:txBody>
      </p:sp>
      <p:pic>
        <p:nvPicPr>
          <p:cNvPr id="8" name="Grafik 7" descr="Ein Bild, das Text, Reihe, Dreieck, Schrift enthält.&#10;&#10;Automatisch generierte Beschreibung">
            <a:extLst>
              <a:ext uri="{FF2B5EF4-FFF2-40B4-BE49-F238E27FC236}">
                <a16:creationId xmlns:a16="http://schemas.microsoft.com/office/drawing/2014/main" id="{F3B08F2F-E52B-9E99-6494-B1F237FC5B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3462572"/>
            <a:ext cx="3797561" cy="261946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90A6525-B2A3-B997-5078-67C68C0C97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5389" y="2549914"/>
            <a:ext cx="4728648" cy="3558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8464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3078AA-FC84-15B8-630E-D5CBC8ED6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ösungsansat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493733-4269-9F03-8CEB-5D9A066B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EC00-F760-4C5A-A6D9-3E15A5323473}" type="datetime1">
              <a:rPr lang="de-DE" noProof="0" smtClean="0"/>
              <a:t>23.01.2025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2D270F-E6E6-E700-11F8-DD49BF454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F561136-43B3-57D5-026A-57FF1A941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2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380AD5E-1D8C-971A-8C4F-D5DF698425A4}"/>
              </a:ext>
            </a:extLst>
          </p:cNvPr>
          <p:cNvSpPr txBox="1"/>
          <p:nvPr/>
        </p:nvSpPr>
        <p:spPr>
          <a:xfrm>
            <a:off x="3480643" y="586954"/>
            <a:ext cx="7141961" cy="1264064"/>
          </a:xfrm>
          <a:prstGeom prst="rect">
            <a:avLst/>
          </a:prstGeom>
          <a:noFill/>
          <a:ln w="28575">
            <a:solidFill>
              <a:srgbClr val="BB0056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Problem: </a:t>
            </a:r>
          </a:p>
          <a:p>
            <a:pPr marL="342900" indent="-342900" algn="l">
              <a:lnSpc>
                <a:spcPts val="1960"/>
              </a:lnSpc>
              <a:buClr>
                <a:schemeClr val="accent1"/>
              </a:buClr>
              <a:buAutoNum type="arabicPeriod"/>
            </a:pPr>
            <a:r>
              <a:rPr lang="de-DE" sz="1400" dirty="0"/>
              <a:t>Nicht Definierter Anwendungskontext (alle Organisationen) der Bilanzräume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Zur Evaluierung liegen nur Daten des Fraunhofer IOSB-AST vor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Keine Evaluierung von z.B. Industrieorganisationen möglich</a:t>
            </a:r>
            <a:endParaRPr lang="de-DE" sz="1400" dirty="0"/>
          </a:p>
          <a:p>
            <a:pPr marL="342900" indent="-342900" algn="l">
              <a:lnSpc>
                <a:spcPts val="1960"/>
              </a:lnSpc>
              <a:buClr>
                <a:schemeClr val="accent1"/>
              </a:buClr>
              <a:buAutoNum type="arabicPeriod"/>
            </a:pPr>
            <a:r>
              <a:rPr lang="de-DE" sz="1400" dirty="0"/>
              <a:t>Keine Festlegung auf Bilanzraumart (Energie/Masse/Impuls)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8A623CD-C5E2-2D1E-B8F8-129322B8B353}"/>
              </a:ext>
            </a:extLst>
          </p:cNvPr>
          <p:cNvSpPr txBox="1"/>
          <p:nvPr/>
        </p:nvSpPr>
        <p:spPr>
          <a:xfrm>
            <a:off x="3480643" y="2350639"/>
            <a:ext cx="7141962" cy="1777025"/>
          </a:xfrm>
          <a:prstGeom prst="rect">
            <a:avLst/>
          </a:prstGeom>
          <a:noFill/>
          <a:ln w="28575">
            <a:solidFill>
              <a:srgbClr val="179C7D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Lösungsansatz: 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Festlegung auf </a:t>
            </a:r>
            <a:r>
              <a:rPr lang="de-DE" sz="1400" b="1" dirty="0"/>
              <a:t>Organisationen</a:t>
            </a:r>
            <a:r>
              <a:rPr lang="de-DE" sz="1400" dirty="0"/>
              <a:t> im </a:t>
            </a:r>
            <a:r>
              <a:rPr lang="de-DE" sz="1400" b="1" dirty="0"/>
              <a:t>tertiären Wirtschaftssektor</a:t>
            </a:r>
            <a:br>
              <a:rPr lang="de-DE" sz="1400" dirty="0"/>
            </a:br>
            <a:r>
              <a:rPr lang="de-DE" sz="1400" dirty="0">
                <a:sym typeface="Wingdings" panose="05000000000000000000" pitchFamily="2" charset="2"/>
              </a:rPr>
              <a:t> automatischer Fokus auf </a:t>
            </a:r>
            <a:r>
              <a:rPr lang="de-DE" sz="1400" b="1" dirty="0">
                <a:sym typeface="Wingdings" panose="05000000000000000000" pitchFamily="2" charset="2"/>
              </a:rPr>
              <a:t>Energiebilanzierung</a:t>
            </a:r>
            <a:r>
              <a:rPr lang="de-DE" sz="1400" dirty="0">
                <a:sym typeface="Wingdings" panose="05000000000000000000" pitchFamily="2" charset="2"/>
              </a:rPr>
              <a:t>, da Masse- und Impulsbilanzierung wenig Relevanz haben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</a:t>
            </a:r>
            <a:r>
              <a:rPr lang="de-DE" sz="1400" b="1" dirty="0">
                <a:sym typeface="Wingdings" panose="05000000000000000000" pitchFamily="2" charset="2"/>
              </a:rPr>
              <a:t>vollständige Evaluierung </a:t>
            </a:r>
            <a:r>
              <a:rPr lang="de-DE" sz="1400" dirty="0">
                <a:sym typeface="Wingdings" panose="05000000000000000000" pitchFamily="2" charset="2"/>
              </a:rPr>
              <a:t>möglich</a:t>
            </a:r>
            <a:br>
              <a:rPr lang="de-DE" sz="1400" dirty="0">
                <a:sym typeface="Wingdings" panose="05000000000000000000" pitchFamily="2" charset="2"/>
              </a:rPr>
            </a:br>
            <a:r>
              <a:rPr lang="de-DE" sz="1400" dirty="0">
                <a:sym typeface="Wingdings" panose="05000000000000000000" pitchFamily="2" charset="2"/>
              </a:rPr>
              <a:t> klarer Rahmen der Arbeit </a:t>
            </a:r>
            <a:r>
              <a:rPr lang="de-DE" sz="1400" b="1" dirty="0">
                <a:sym typeface="Wingdings" panose="05000000000000000000" pitchFamily="2" charset="2"/>
              </a:rPr>
              <a:t>reduziert Inhaltlichen Umfang </a:t>
            </a:r>
            <a:r>
              <a:rPr lang="de-DE" sz="1400" dirty="0">
                <a:sym typeface="Wingdings" panose="05000000000000000000" pitchFamily="2" charset="2"/>
              </a:rPr>
              <a:t>der Arbeit stark und </a:t>
            </a:r>
            <a:r>
              <a:rPr lang="de-DE" sz="1400" b="1" dirty="0">
                <a:sym typeface="Wingdings" panose="05000000000000000000" pitchFamily="2" charset="2"/>
              </a:rPr>
              <a:t>erhöht</a:t>
            </a:r>
            <a:r>
              <a:rPr lang="de-DE" sz="1400" dirty="0">
                <a:sym typeface="Wingdings" panose="05000000000000000000" pitchFamily="2" charset="2"/>
              </a:rPr>
              <a:t> dabei die </a:t>
            </a:r>
            <a:r>
              <a:rPr lang="de-DE" sz="1400" b="1" dirty="0">
                <a:sym typeface="Wingdings" panose="05000000000000000000" pitchFamily="2" charset="2"/>
              </a:rPr>
              <a:t>Präzision</a:t>
            </a:r>
            <a:r>
              <a:rPr lang="de-DE" sz="1400" dirty="0">
                <a:sym typeface="Wingdings" panose="05000000000000000000" pitchFamily="2" charset="2"/>
              </a:rPr>
              <a:t> der Arbeit</a:t>
            </a:r>
            <a:endParaRPr lang="de-DE" sz="1400" dirty="0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014E91C-DAC0-CEDE-CF9D-7B2D73160F78}"/>
              </a:ext>
            </a:extLst>
          </p:cNvPr>
          <p:cNvCxnSpPr>
            <a:cxnSpLocks/>
            <a:stCxn id="6" idx="2"/>
            <a:endCxn id="11" idx="0"/>
          </p:cNvCxnSpPr>
          <p:nvPr/>
        </p:nvCxnSpPr>
        <p:spPr>
          <a:xfrm>
            <a:off x="7051624" y="1851018"/>
            <a:ext cx="0" cy="499621"/>
          </a:xfrm>
          <a:prstGeom prst="straightConnector1">
            <a:avLst/>
          </a:prstGeom>
          <a:ln w="38100">
            <a:solidFill>
              <a:srgbClr val="005B7F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96544CD7-5B38-10A9-E16E-285655598F99}"/>
              </a:ext>
            </a:extLst>
          </p:cNvPr>
          <p:cNvSpPr txBox="1"/>
          <p:nvPr/>
        </p:nvSpPr>
        <p:spPr>
          <a:xfrm>
            <a:off x="3480643" y="4309881"/>
            <a:ext cx="7141962" cy="176458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Problem des Lösungsansatz: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400" dirty="0"/>
              <a:t>Das Thema der Arbeit: </a:t>
            </a:r>
            <a:br>
              <a:rPr lang="de-DE" sz="1400" dirty="0"/>
            </a:br>
            <a:r>
              <a:rPr lang="de-DE" sz="1400" dirty="0"/>
              <a:t>„</a:t>
            </a:r>
            <a:r>
              <a:rPr lang="de-DE" sz="1400" i="0" u="none" strike="noStrike" baseline="0" dirty="0"/>
              <a:t>Konzeption und Entwicklung einer datenbankseitigen Abbildung von frei definierbaren Bilanzräumen im Zusammenhang mit dem Energiemanagementsystem EMS-EDM PROPHET® nach ISO 50001.“</a:t>
            </a:r>
            <a:br>
              <a:rPr lang="de-DE" sz="1400" i="0" u="none" strike="noStrike" baseline="0" dirty="0"/>
            </a:br>
            <a:r>
              <a:rPr lang="de-DE" sz="1400" i="0" u="none" strike="noStrike" baseline="0" dirty="0"/>
              <a:t>gibt nur einen sehr allgemeinen Rahmen.</a:t>
            </a:r>
            <a:endParaRPr lang="de-DE" sz="1100" i="0" u="none" strike="noStrike" baseline="0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400" i="0" u="none" strike="noStrike" baseline="0" dirty="0"/>
              <a:t>Es wird von Bilanzräumen allgemein gesprochen (nicht Energiebilanzräume)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1400" i="0" u="none" strike="noStrike" baseline="0" dirty="0"/>
              <a:t>Das Thema definiert den Anwendungskontext nicht (tertiärer Wirtschaftssektor)</a:t>
            </a:r>
            <a:endParaRPr lang="de-DE" i="0" u="none" strike="noStrike" baseline="0" dirty="0"/>
          </a:p>
        </p:txBody>
      </p:sp>
    </p:spTree>
    <p:extLst>
      <p:ext uri="{BB962C8B-B14F-4D97-AF65-F5344CB8AC3E}">
        <p14:creationId xmlns:p14="http://schemas.microsoft.com/office/powerpoint/2010/main" val="21389967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osb_rgb_modul">
            <a:extLst>
              <a:ext uri="{FF2B5EF4-FFF2-40B4-BE49-F238E27FC236}">
                <a16:creationId xmlns:a16="http://schemas.microsoft.com/office/drawing/2014/main" id="{DD7AD2D0-5D4A-4523-9F67-867979704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743" y="0"/>
            <a:ext cx="9394514" cy="3429000"/>
          </a:xfrm>
          <a:prstGeom prst="rect">
            <a:avLst/>
          </a:prstGeom>
          <a:noFill/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78900C-3DF8-446D-8BFD-EBD50DCA41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-1" y="2357312"/>
            <a:ext cx="7824787" cy="31485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200" dirty="0"/>
              <a:t>Neuer Aufbau (Theorieteil)</a:t>
            </a:r>
          </a:p>
          <a:p>
            <a:pPr lvl="1">
              <a:lnSpc>
                <a:spcPct val="90000"/>
              </a:lnSpc>
            </a:pPr>
            <a:r>
              <a:rPr lang="de-DE" sz="2200" dirty="0"/>
              <a:t>—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Fabian Heinlein</a:t>
            </a:r>
          </a:p>
          <a:p>
            <a:pPr lvl="2">
              <a:lnSpc>
                <a:spcPct val="90000"/>
              </a:lnSpc>
            </a:pPr>
            <a:r>
              <a:rPr lang="de-DE" sz="2200" dirty="0"/>
              <a:t>22.01.2025</a:t>
            </a:r>
            <a:br>
              <a:rPr lang="de-DE" sz="2200" dirty="0"/>
            </a:br>
            <a:r>
              <a:rPr lang="de-DE" sz="2200" dirty="0"/>
              <a:t>Bachelorarbeit</a:t>
            </a:r>
          </a:p>
        </p:txBody>
      </p:sp>
    </p:spTree>
    <p:extLst>
      <p:ext uri="{BB962C8B-B14F-4D97-AF65-F5344CB8AC3E}">
        <p14:creationId xmlns:p14="http://schemas.microsoft.com/office/powerpoint/2010/main" val="22821120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BC552-4588-0553-E8F3-828A6C8871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DF07976-AEF6-666E-D7E0-269CD881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EB48E2-935A-BA04-A615-B75F26CA6C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515" y="6438251"/>
            <a:ext cx="720000" cy="123111"/>
          </a:xfrm>
        </p:spPr>
        <p:txBody>
          <a:bodyPr/>
          <a:lstStyle/>
          <a:p>
            <a:fld id="{E1C3EC00-F760-4C5A-A6D9-3E15A5323473}" type="datetime1">
              <a:rPr lang="de-DE" sz="900" noProof="0" smtClean="0"/>
              <a:t>23.01.2025</a:t>
            </a:fld>
            <a:endParaRPr lang="de-DE" sz="900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DD3126-669B-1877-267A-3AB0CAAA1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92" y="6430557"/>
            <a:ext cx="720000" cy="138499"/>
          </a:xfrm>
        </p:spPr>
        <p:txBody>
          <a:bodyPr/>
          <a:lstStyle/>
          <a:p>
            <a:r>
              <a:rPr lang="de-DE" sz="900" noProof="0"/>
              <a:t>Seite</a:t>
            </a:r>
            <a:r>
              <a:rPr lang="en-US" sz="900"/>
              <a:t> </a:t>
            </a:r>
            <a:fld id="{401BA3E4-5E55-4F99-AF09-CC6D6B2539E2}" type="slidenum">
              <a:rPr lang="en-US" sz="900" smtClean="0"/>
              <a:pPr/>
              <a:t>9</a:t>
            </a:fld>
            <a:endParaRPr lang="en-US" sz="90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136A4DB-6C29-A44A-3F6F-3F700649B8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ilproblem 2: Anwendungsbereich (2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A2B85-5960-AF4A-06CE-7C1165EEC8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512259"/>
            <a:ext cx="5437188" cy="4020075"/>
          </a:xfrm>
        </p:spPr>
        <p:txBody>
          <a:bodyPr/>
          <a:lstStyle/>
          <a:p>
            <a:r>
              <a:rPr lang="de-DE" dirty="0">
                <a:latin typeface="+mn-lt"/>
              </a:rPr>
              <a:t>Die Art der Bilanzierung und der Bilanzräume wurde nicht festgelegt. Somit müssen unter Berücksichtigung des Anspruchs auf Vollständigkeit nicht nur die </a:t>
            </a:r>
            <a:r>
              <a:rPr lang="de-DE" b="1" dirty="0">
                <a:latin typeface="+mn-lt"/>
              </a:rPr>
              <a:t>Energiebilanzierung </a:t>
            </a:r>
            <a:r>
              <a:rPr lang="de-DE" dirty="0">
                <a:latin typeface="+mn-lt"/>
              </a:rPr>
              <a:t>sondern auch </a:t>
            </a:r>
            <a:r>
              <a:rPr lang="de-DE" b="1" dirty="0">
                <a:latin typeface="+mn-lt"/>
              </a:rPr>
              <a:t>Masse- </a:t>
            </a:r>
            <a:r>
              <a:rPr lang="de-DE" dirty="0">
                <a:latin typeface="+mn-lt"/>
              </a:rPr>
              <a:t>und </a:t>
            </a:r>
            <a:r>
              <a:rPr lang="de-DE" b="1" dirty="0">
                <a:latin typeface="+mn-lt"/>
              </a:rPr>
              <a:t>Impulsbilanzierung </a:t>
            </a:r>
            <a:r>
              <a:rPr lang="de-DE" dirty="0">
                <a:latin typeface="+mn-lt"/>
              </a:rPr>
              <a:t>berücksichtigt werden.</a:t>
            </a:r>
            <a:br>
              <a:rPr lang="de-DE" dirty="0">
                <a:latin typeface="+mn-lt"/>
              </a:rPr>
            </a:b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Im </a:t>
            </a:r>
            <a:r>
              <a:rPr lang="de-DE" b="1" dirty="0">
                <a:latin typeface="+mn-lt"/>
              </a:rPr>
              <a:t>tertiären Wirtschaftssektor </a:t>
            </a:r>
            <a:r>
              <a:rPr lang="de-DE" dirty="0">
                <a:latin typeface="+mn-lt"/>
              </a:rPr>
              <a:t>ist vor allem die Energiebilanzierung relevant.</a:t>
            </a:r>
          </a:p>
          <a:p>
            <a:r>
              <a:rPr lang="de-DE" dirty="0">
                <a:latin typeface="+mn-lt"/>
              </a:rPr>
              <a:t>Damit einher geht die Frage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welche Bilanzräume abbild-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bar sein sollen.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  <a:sym typeface="Wingdings" panose="05000000000000000000" pitchFamily="2" charset="2"/>
              </a:rPr>
              <a:t> </a:t>
            </a:r>
            <a:r>
              <a:rPr lang="de-DE" dirty="0" err="1">
                <a:latin typeface="+mn-lt"/>
                <a:sym typeface="Wingdings" panose="05000000000000000000" pitchFamily="2" charset="2"/>
              </a:rPr>
              <a:t>Energiesektorübergreifend</a:t>
            </a:r>
            <a:r>
              <a:rPr lang="de-DE" dirty="0">
                <a:latin typeface="+mn-lt"/>
                <a:sym typeface="Wingdings" panose="05000000000000000000" pitchFamily="2" charset="2"/>
              </a:rPr>
              <a:t>?</a:t>
            </a:r>
            <a:br>
              <a:rPr lang="de-DE" dirty="0">
                <a:latin typeface="+mn-lt"/>
                <a:sym typeface="Wingdings" panose="05000000000000000000" pitchFamily="2" charset="2"/>
              </a:rPr>
            </a:br>
            <a:r>
              <a:rPr lang="de-DE" dirty="0">
                <a:latin typeface="+mn-lt"/>
                <a:sym typeface="Wingdings" panose="05000000000000000000" pitchFamily="2" charset="2"/>
              </a:rPr>
              <a:t> nicht-Energie Ströme?</a:t>
            </a:r>
            <a:br>
              <a:rPr lang="de-DE" dirty="0">
                <a:latin typeface="+mn-lt"/>
                <a:sym typeface="Wingdings" panose="05000000000000000000" pitchFamily="2" charset="2"/>
              </a:rPr>
            </a:br>
            <a:r>
              <a:rPr lang="de-DE" dirty="0">
                <a:latin typeface="+mn-lt"/>
                <a:sym typeface="Wingdings" panose="05000000000000000000" pitchFamily="2" charset="2"/>
              </a:rPr>
              <a:t>(z.B. Stoff Ströme)</a:t>
            </a:r>
            <a:endParaRPr lang="de-DE" dirty="0">
              <a:latin typeface="+mn-lt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69EA28D-035D-545E-2716-0E9DCC12DA8A}"/>
              </a:ext>
            </a:extLst>
          </p:cNvPr>
          <p:cNvSpPr txBox="1"/>
          <p:nvPr/>
        </p:nvSpPr>
        <p:spPr>
          <a:xfrm>
            <a:off x="8291197" y="106789"/>
            <a:ext cx="3763107" cy="24222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1900"/>
              </a:spcAft>
              <a:buClr>
                <a:schemeClr val="accent1"/>
              </a:buClr>
            </a:pPr>
            <a:r>
              <a:rPr lang="de-DE" sz="1600" b="1" dirty="0"/>
              <a:t>Hauptforschungsfrage:</a:t>
            </a:r>
            <a:br>
              <a:rPr lang="de-DE" sz="1600" dirty="0"/>
            </a:br>
            <a:r>
              <a:rPr lang="de-DE" sz="1600" dirty="0"/>
              <a:t>Wie lässt sich ein datenbankbasiertes System zur Abbildung und Bewertung von frei definierbaren </a:t>
            </a:r>
            <a:r>
              <a:rPr lang="de-DE" sz="1600" b="1" dirty="0"/>
              <a:t>Bilanzräumen</a:t>
            </a:r>
            <a:r>
              <a:rPr lang="de-DE" sz="1600" dirty="0"/>
              <a:t> im Rahmen des Energiemanagementsystems EMS-EDM Prophet® konzipieren und implementieren, um Organisationen bei der Erfüllung der ISO 50001-Anforderungen zu unterstützen?</a:t>
            </a:r>
          </a:p>
        </p:txBody>
      </p:sp>
      <p:pic>
        <p:nvPicPr>
          <p:cNvPr id="7" name="Grafik 6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9E00206B-FAA4-6630-AEC7-0680EDF6F8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6040" y="2736440"/>
            <a:ext cx="4348264" cy="3400342"/>
          </a:xfrm>
          <a:prstGeom prst="rect">
            <a:avLst/>
          </a:prstGeom>
        </p:spPr>
      </p:pic>
      <p:pic>
        <p:nvPicPr>
          <p:cNvPr id="12" name="Grafik 11" descr="Ein Bild, das Text, Cartoon, Design enthält.&#10;&#10;Automatisch generierte Beschreibung">
            <a:extLst>
              <a:ext uri="{FF2B5EF4-FFF2-40B4-BE49-F238E27FC236}">
                <a16:creationId xmlns:a16="http://schemas.microsoft.com/office/drawing/2014/main" id="{606A75F6-8A0D-4937-E054-065AB29EA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9312" y="3428999"/>
            <a:ext cx="3353292" cy="270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36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FOXDOCUMENTCLASSIFICATIONVERSION" val="1"/>
  <p:tag name="ISFOXSHOWCLASSIFICATIONREQUESTDIALOG" val="False"/>
  <p:tag name="A71660D270C64F5BBB8F27F5E85BE6370" val="AST\fab26861;d4c75f49-f1ee-485c-aa75-2c54e2ab5223;Internal;2023-09-28T11:03:15;;IOSB-AST|"/>
  <p:tag name="A71660D270C64F5BBB8F27F5E85BE630" val="1"/>
  <p:tag name="ISFOXCLASSIFICATIONINKEYWORDS" val="Internal"/>
  <p:tag name="ISFOXDOVERSIONINGONSAVE" val="0"/>
  <p:tag name="ISFOXLABELUSERINTERACTION" val="True"/>
  <p:tag name="ISFOXOLDCLASSIFICATIONID" val="00000000-0000-0000-0000-000000000000"/>
  <p:tag name="ISFOXCLASSIFICATIONID" val="d4c75f49-f1ee-485c-aa75-2c54e2ab5223"/>
  <p:tag name="ISFOXCLASSIFICATIONNAME" val="Internal"/>
  <p:tag name="ISFOXPREFIX" val="IOSB-AS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 orig</Template>
  <TotalTime>0</TotalTime>
  <Words>1121</Words>
  <Application>Microsoft Office PowerPoint</Application>
  <PresentationFormat>Breitbild</PresentationFormat>
  <Paragraphs>97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1" baseType="lpstr">
      <vt:lpstr>Arial</vt:lpstr>
      <vt:lpstr>Frutiger LT Com 65 Bold</vt:lpstr>
      <vt:lpstr>Calibri</vt:lpstr>
      <vt:lpstr>Aptos</vt:lpstr>
      <vt:lpstr>Frutiger LT Com 45 Light</vt:lpstr>
      <vt:lpstr>Wingdings</vt:lpstr>
      <vt:lpstr>Frutiger LT Com 75 Black</vt:lpstr>
      <vt:lpstr>Fraunhofer_Master_16-9</vt:lpstr>
      <vt:lpstr>think-cell Folie</vt:lpstr>
      <vt:lpstr>PowerPoint-Präsentation</vt:lpstr>
      <vt:lpstr>Thema</vt:lpstr>
      <vt:lpstr>PowerPoint-Präsentation</vt:lpstr>
      <vt:lpstr>Probleme</vt:lpstr>
      <vt:lpstr>Lösungsansatz</vt:lpstr>
      <vt:lpstr>Probleme</vt:lpstr>
      <vt:lpstr>Lösungsansatz</vt:lpstr>
      <vt:lpstr>PowerPoint-Präsentation</vt:lpstr>
      <vt:lpstr>Probleme</vt:lpstr>
      <vt:lpstr>Neuer Aufbau </vt:lpstr>
      <vt:lpstr>PowerPoint-Präsentation</vt:lpstr>
      <vt:lpstr>Zeitplanung</vt:lpstr>
    </vt:vector>
  </TitlesOfParts>
  <Company>Fraunhofer IO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ontes, Ulrich</dc:creator>
  <cp:keywords>Internal;</cp:keywords>
  <cp:lastModifiedBy>Fabian Heinlein</cp:lastModifiedBy>
  <cp:revision>202</cp:revision>
  <dcterms:created xsi:type="dcterms:W3CDTF">2022-06-14T19:19:11Z</dcterms:created>
  <dcterms:modified xsi:type="dcterms:W3CDTF">2025-01-23T12:4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FHG-SK">
    <vt:lpwstr>Internal</vt:lpwstr>
  </property>
  <property fmtid="{D5CDD505-2E9C-101B-9397-08002B2CF9AE}" pid="4" name="Classification">
    <vt:lpwstr>Restricted</vt:lpwstr>
  </property>
  <property fmtid="{D5CDD505-2E9C-101B-9397-08002B2CF9AE}" pid="5" name="MSIP_Label_20b3cc57-ad54-4613-8228-62b95826f463_Enabled">
    <vt:lpwstr>true</vt:lpwstr>
  </property>
  <property fmtid="{D5CDD505-2E9C-101B-9397-08002B2CF9AE}" pid="6" name="MSIP_Label_20b3cc57-ad54-4613-8228-62b95826f463_SetDate">
    <vt:lpwstr>2024-12-19T13:07:55Z</vt:lpwstr>
  </property>
  <property fmtid="{D5CDD505-2E9C-101B-9397-08002B2CF9AE}" pid="7" name="MSIP_Label_20b3cc57-ad54-4613-8228-62b95826f463_Method">
    <vt:lpwstr>Standard</vt:lpwstr>
  </property>
  <property fmtid="{D5CDD505-2E9C-101B-9397-08002B2CF9AE}" pid="8" name="MSIP_Label_20b3cc57-ad54-4613-8228-62b95826f463_Name">
    <vt:lpwstr>defa4170-0d19-0005-0004-bc88714345d2</vt:lpwstr>
  </property>
  <property fmtid="{D5CDD505-2E9C-101B-9397-08002B2CF9AE}" pid="9" name="MSIP_Label_20b3cc57-ad54-4613-8228-62b95826f463_SiteId">
    <vt:lpwstr>c81b6223-c223-4518-968a-8b0a0419d697</vt:lpwstr>
  </property>
  <property fmtid="{D5CDD505-2E9C-101B-9397-08002B2CF9AE}" pid="10" name="MSIP_Label_20b3cc57-ad54-4613-8228-62b95826f463_ActionId">
    <vt:lpwstr>4ceef2b5-74a3-40c0-868a-48b123ab0710</vt:lpwstr>
  </property>
  <property fmtid="{D5CDD505-2E9C-101B-9397-08002B2CF9AE}" pid="11" name="MSIP_Label_20b3cc57-ad54-4613-8228-62b95826f463_ContentBits">
    <vt:lpwstr>0</vt:lpwstr>
  </property>
</Properties>
</file>